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8F6522-D232-893A-EEF4-C65136E8A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21041C2B-72EF-A5E8-1D6D-46F880F045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041C2B-72EF-A5E8-1D6D-46F880F04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861BDE-AE9B-C136-56EB-46146C5C9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98A3BA-054B-D674-29C8-FDDE8E0D1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7AB79E6-7131-B017-F024-53B48F47F213}"/>
              </a:ext>
            </a:extLst>
          </p:cNvPr>
          <p:cNvGrpSpPr/>
          <p:nvPr/>
        </p:nvGrpSpPr>
        <p:grpSpPr>
          <a:xfrm>
            <a:off x="9265041" y="3775501"/>
            <a:ext cx="2018128" cy="1396115"/>
            <a:chOff x="6966014" y="2832270"/>
            <a:chExt cx="1517350" cy="1049683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2103DFFF-CFD9-D064-F16B-EF838E722ABC}"/>
                </a:ext>
              </a:extLst>
            </p:cNvPr>
            <p:cNvSpPr/>
            <p:nvPr/>
          </p:nvSpPr>
          <p:spPr>
            <a:xfrm flipH="1">
              <a:off x="6966014" y="3311261"/>
              <a:ext cx="379412" cy="9170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AB81C05-77E5-7FC9-08D2-C0D9B726A79C}"/>
                </a:ext>
              </a:extLst>
            </p:cNvPr>
            <p:cNvSpPr/>
            <p:nvPr/>
          </p:nvSpPr>
          <p:spPr>
            <a:xfrm>
              <a:off x="7433680" y="2832270"/>
              <a:ext cx="1049684" cy="1049683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Insert heading</a:t>
              </a: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51286D1B-44FE-DDA5-8E79-455681E32057}"/>
              </a:ext>
            </a:extLst>
          </p:cNvPr>
          <p:cNvSpPr/>
          <p:nvPr/>
        </p:nvSpPr>
        <p:spPr>
          <a:xfrm>
            <a:off x="8830721" y="1658570"/>
            <a:ext cx="1396116" cy="139611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A6580EE-9FE1-5FC4-A297-4453C745CA2E}"/>
              </a:ext>
            </a:extLst>
          </p:cNvPr>
          <p:cNvGrpSpPr/>
          <p:nvPr/>
        </p:nvGrpSpPr>
        <p:grpSpPr>
          <a:xfrm>
            <a:off x="4833880" y="3775501"/>
            <a:ext cx="2018128" cy="1396115"/>
            <a:chOff x="3634401" y="2832270"/>
            <a:chExt cx="1517350" cy="1049683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BEB0AB5A-ED7D-9F32-6277-4A31E8F7E8AA}"/>
                </a:ext>
              </a:extLst>
            </p:cNvPr>
            <p:cNvSpPr/>
            <p:nvPr/>
          </p:nvSpPr>
          <p:spPr>
            <a:xfrm>
              <a:off x="4772339" y="3311262"/>
              <a:ext cx="379412" cy="917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E80F79C-74DF-3921-D21A-D3181DAEFC3B}"/>
                </a:ext>
              </a:extLst>
            </p:cNvPr>
            <p:cNvSpPr/>
            <p:nvPr/>
          </p:nvSpPr>
          <p:spPr>
            <a:xfrm flipH="1">
              <a:off x="3634401" y="2832270"/>
              <a:ext cx="1049684" cy="1049683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Insert heading</a:t>
              </a: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DFA9D1B5-E2C1-298F-2AF7-5895A6C994AB}"/>
              </a:ext>
            </a:extLst>
          </p:cNvPr>
          <p:cNvSpPr/>
          <p:nvPr/>
        </p:nvSpPr>
        <p:spPr>
          <a:xfrm flipH="1">
            <a:off x="5896204" y="1655850"/>
            <a:ext cx="1396116" cy="139611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24A6F4F-0FF7-B22A-C8C2-3FEBB1AEE125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E0C3441-5E35-9A7E-5DDD-07BED9C17B19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6B5B21DA-BC01-B6BE-59A8-EE7FAB1559CB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 dirty="0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2B114EE-4902-1EFC-8BBA-E6F0BB0BCFC1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0CAE0845-02AB-6EAB-1CE4-FAAEA2B4C56C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3ABBF270-68C3-6361-0951-A02C6FBF38E2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F31D619-E59B-ED76-598D-8BF84D6F24ED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9D203BBD-0579-7B14-6EA1-F14AF7CD0010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3DF1EEC-605C-10DE-4B0B-2F2B0925D892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8518FDC-42C1-74FC-5927-A8157CE72DD3}"/>
              </a:ext>
            </a:extLst>
          </p:cNvPr>
          <p:cNvSpPr/>
          <p:nvPr/>
        </p:nvSpPr>
        <p:spPr>
          <a:xfrm rot="18556811" flipH="1" flipV="1">
            <a:off x="8600454" y="3122152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743E2B2-7DD2-88ED-4AE3-0D410A2DB1A6}"/>
              </a:ext>
            </a:extLst>
          </p:cNvPr>
          <p:cNvSpPr/>
          <p:nvPr/>
        </p:nvSpPr>
        <p:spPr>
          <a:xfrm rot="3127860">
            <a:off x="6997395" y="3135829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5B9F011-BB85-76B3-30A2-AABE7C926EA6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564271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9</TotalTime>
  <Words>41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d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21</cp:revision>
  <dcterms:created xsi:type="dcterms:W3CDTF">2021-03-31T02:49:57Z</dcterms:created>
  <dcterms:modified xsi:type="dcterms:W3CDTF">2025-10-15T03:43:10Z</dcterms:modified>
  <cp:category/>
</cp:coreProperties>
</file>